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61" r:id="rId2"/>
    <p:sldId id="414" r:id="rId3"/>
    <p:sldId id="415" r:id="rId4"/>
    <p:sldId id="416" r:id="rId5"/>
    <p:sldId id="417" r:id="rId6"/>
    <p:sldId id="418" r:id="rId7"/>
    <p:sldId id="419" r:id="rId8"/>
    <p:sldId id="420" r:id="rId9"/>
    <p:sldId id="421" r:id="rId10"/>
    <p:sldId id="422" r:id="rId11"/>
    <p:sldId id="423" r:id="rId12"/>
    <p:sldId id="424" r:id="rId13"/>
    <p:sldId id="425" r:id="rId14"/>
    <p:sldId id="426" r:id="rId15"/>
    <p:sldId id="427" r:id="rId16"/>
    <p:sldId id="428" r:id="rId17"/>
    <p:sldId id="429" r:id="rId18"/>
    <p:sldId id="430" r:id="rId19"/>
    <p:sldId id="431" r:id="rId20"/>
    <p:sldId id="432" r:id="rId21"/>
    <p:sldId id="433" r:id="rId22"/>
    <p:sldId id="434" r:id="rId23"/>
    <p:sldId id="435" r:id="rId24"/>
    <p:sldId id="436" r:id="rId25"/>
    <p:sldId id="437" r:id="rId26"/>
    <p:sldId id="438" r:id="rId27"/>
    <p:sldId id="439" r:id="rId28"/>
    <p:sldId id="440" r:id="rId29"/>
    <p:sldId id="441" r:id="rId30"/>
    <p:sldId id="442" r:id="rId31"/>
    <p:sldId id="443" r:id="rId32"/>
    <p:sldId id="444" r:id="rId33"/>
    <p:sldId id="445" r:id="rId34"/>
    <p:sldId id="446" r:id="rId35"/>
    <p:sldId id="447" r:id="rId36"/>
    <p:sldId id="448" r:id="rId37"/>
    <p:sldId id="449" r:id="rId38"/>
    <p:sldId id="450" r:id="rId39"/>
    <p:sldId id="451" r:id="rId40"/>
    <p:sldId id="452" r:id="rId41"/>
    <p:sldId id="453" r:id="rId42"/>
    <p:sldId id="454" r:id="rId43"/>
    <p:sldId id="455" r:id="rId44"/>
    <p:sldId id="456" r:id="rId45"/>
    <p:sldId id="457" r:id="rId46"/>
    <p:sldId id="458" r:id="rId47"/>
    <p:sldId id="459" r:id="rId48"/>
    <p:sldId id="460" r:id="rId49"/>
    <p:sldId id="461" r:id="rId50"/>
    <p:sldId id="462" r:id="rId51"/>
    <p:sldId id="463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080423-AECA-22DF-DD0A-B100D122D7E2}" name="Hayes, Kimberly G" initials="HKG" userId="S::Kimberly.Hayes2@CVSHealth.com::aa176e5c-ca41-455e-b693-37609ebc4ca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etralczyk, Rene" initials="PR" lastIdx="1" clrIdx="0">
    <p:extLst>
      <p:ext uri="{19B8F6BF-5375-455C-9EA6-DF929625EA0E}">
        <p15:presenceInfo xmlns:p15="http://schemas.microsoft.com/office/powerpoint/2012/main" userId="S::Rene.Pietralczyk@CVSHealth.com::bb38fead-ab1a-4018-bd0b-9338024740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8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32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194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8" Type="http://schemas.microsoft.com/office/2018/10/relationships/authors" Target="author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6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00261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D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8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3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66731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0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30" y="1784351"/>
            <a:ext cx="8588452" cy="3982707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44317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0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981064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686373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383357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859703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6645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3249287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7852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74295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914400" indent="-165100">
              <a:buFont typeface="Arial" panose="020B0604020202020204" pitchFamily="34" charset="0"/>
              <a:buChar char="•"/>
              <a:defRPr/>
            </a:lvl7pPr>
            <a:lvl8pPr marL="1092200" indent="-177800">
              <a:buFont typeface="Arial" panose="020B0604020202020204" pitchFamily="34" charset="0"/>
              <a:buChar char="–"/>
              <a:defRPr/>
            </a:lvl8pPr>
            <a:lvl9pPr marL="1257300" indent="-16510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131580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4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8609" y="1770064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073734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6928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0832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84709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6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40747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07762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7594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7425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81143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10583869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2567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9125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55684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52243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48800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29099876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2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0077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4" y="1764793"/>
            <a:ext cx="7174287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37811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5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57200" indent="-174625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8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457200" indent="-174625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0888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21048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2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>
              <a:buClrTx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 baseline="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6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400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4953871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4953872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486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609176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1" y="530351"/>
            <a:ext cx="4881033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0" y="1773581"/>
            <a:ext cx="4847249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7582584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8" y="530351"/>
            <a:ext cx="4953872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0" y="1773581"/>
            <a:ext cx="495387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02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0" y="530351"/>
            <a:ext cx="4881032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1" y="1773581"/>
            <a:ext cx="488103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096960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1516927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3765543"/>
            <a:ext cx="3582951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9550016" y="6104647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5344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953872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30" y="3590383"/>
            <a:ext cx="4953871" cy="18491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59211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9" y="402092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9231305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29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743595-4496-5147-A886-7D133864DF76}" type="slidenum">
              <a:rPr lang="en-US" sz="1000" b="1" smtClean="0">
                <a:solidFill>
                  <a:prstClr val="white"/>
                </a:solidFill>
                <a:latin typeface="Arial"/>
                <a:ea typeface="Open Sans" panose="020B0606030504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b="1" dirty="0">
              <a:solidFill>
                <a:prstClr val="white"/>
              </a:solidFill>
              <a:latin typeface="Arial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1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t>©2020 Aetna In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9" y="402092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443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2" y="378059"/>
            <a:ext cx="536964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510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4022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8768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</p:spTree>
    <p:extLst>
      <p:ext uri="{BB962C8B-B14F-4D97-AF65-F5344CB8AC3E}">
        <p14:creationId xmlns:p14="http://schemas.microsoft.com/office/powerpoint/2010/main" val="8515132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3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0" y="1770063"/>
            <a:ext cx="8588452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4488" indent="-173038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15938" indent="-171450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/>
            </a:lvl6pPr>
            <a:lvl7pPr marL="860425" indent="-173038">
              <a:buClrTx/>
              <a:buFont typeface="Arial" panose="020B0604020202020204" pitchFamily="34" charset="0"/>
              <a:buChar char="•"/>
              <a:defRPr baseline="0"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755703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60810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1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7769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5136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3054037" y="2941079"/>
            <a:ext cx="6083929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rgbClr val="7D3F98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600871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053571" y="1196075"/>
            <a:ext cx="4112940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3842032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622402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5" y="2928939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187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5" y="2928939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1181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3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1324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45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9" descr="Violet (transparent background)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347" y="6438903"/>
            <a:ext cx="536715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450968" y="1222375"/>
            <a:ext cx="11294829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794" y="388063"/>
            <a:ext cx="9457359" cy="73161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319" y="1895473"/>
            <a:ext cx="9452851" cy="434340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9B6A854-730C-4665-8218-F7FC6C903FF1}" type="datetime1">
              <a:rPr lang="en-US">
                <a:solidFill>
                  <a:srgbClr val="000000"/>
                </a:solidFill>
              </a:rPr>
              <a:pPr/>
              <a:t>8/19/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apitol - For Internal Use Only - 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7892C99-7E50-4912-ABC8-E78F8BDEADF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5402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3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60242" y="1600200"/>
            <a:ext cx="9444909" cy="4636008"/>
          </a:xfrm>
        </p:spPr>
        <p:txBody>
          <a:bodyPr/>
          <a:lstStyle>
            <a:lvl1pPr>
              <a:spcBef>
                <a:spcPts val="1350"/>
              </a:spcBef>
              <a:defRPr sz="135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900"/>
              </a:spcBef>
              <a:buFontTx/>
              <a:buNone/>
              <a:defRPr sz="1350"/>
            </a:lvl2pPr>
            <a:lvl3pPr marL="150059" indent="-150059">
              <a:spcBef>
                <a:spcPts val="450"/>
              </a:spcBef>
              <a:buFont typeface="Arial"/>
              <a:buChar char="•"/>
              <a:defRPr sz="1350"/>
            </a:lvl3pPr>
            <a:lvl4pPr marL="298927" indent="-150059">
              <a:buFont typeface="Lucida Grande"/>
              <a:buChar char="-"/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1324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28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392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2" y="5882600"/>
            <a:ext cx="10977033" cy="418596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footnotes if needed</a:t>
            </a:r>
          </a:p>
        </p:txBody>
      </p:sp>
    </p:spTree>
    <p:extLst>
      <p:ext uri="{BB962C8B-B14F-4D97-AF65-F5344CB8AC3E}">
        <p14:creationId xmlns:p14="http://schemas.microsoft.com/office/powerpoint/2010/main" val="2457213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56190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  <a:latin typeface="+mn-lt"/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7932" y="1077090"/>
            <a:ext cx="5078753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1" y="3325706"/>
            <a:ext cx="5078755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47509" y="6016711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229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A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8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21122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B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20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3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6638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C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8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5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3926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30" y="530351"/>
            <a:ext cx="9667725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30" y="1785938"/>
            <a:ext cx="9642308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851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1125">
          <p15:clr>
            <a:srgbClr val="F26B43"/>
          </p15:clr>
        </p15:guide>
        <p15:guide id="5" orient="horz" pos="3631">
          <p15:clr>
            <a:srgbClr val="F26B43"/>
          </p15:clr>
        </p15:guide>
        <p15:guide id="6" orient="horz" pos="411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bama </a:t>
            </a:r>
            <a:r>
              <a:rPr lang="en-US" sz="2800" dirty="0">
                <a:solidFill>
                  <a:schemeClr val="tx1"/>
                </a:solidFill>
              </a:rPr>
              <a:t>– Region 1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1" y="77973"/>
            <a:ext cx="12954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D3E1988B-2171-464C-A23B-851A0698AF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8245892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7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108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Florida </a:t>
            </a:r>
            <a:r>
              <a:rPr lang="en-US" sz="2800" dirty="0">
                <a:solidFill>
                  <a:schemeClr val="tx1"/>
                </a:solidFill>
              </a:rPr>
              <a:t>– Region 1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4CF6C2E-D1F4-4D61-893D-61117A4ED8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649944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8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132723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1406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Georgia </a:t>
            </a:r>
            <a:r>
              <a:rPr lang="en-US" sz="2800" dirty="0">
                <a:solidFill>
                  <a:schemeClr val="tx1"/>
                </a:solidFill>
              </a:rPr>
              <a:t>– Region 1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2121D2C-206F-42FD-8D35-091F539D53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056456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100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4536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1812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Hawaii </a:t>
            </a:r>
            <a:r>
              <a:rPr lang="en-US" sz="2800" dirty="0">
                <a:solidFill>
                  <a:schemeClr val="tx1"/>
                </a:solidFill>
              </a:rPr>
              <a:t>– Region 3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132DF54-FA49-4C82-A050-A4953E8694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042374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14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19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daho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3D7F887-9DF8-4CEC-8251-23019EF55F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0463090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7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02973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llinois </a:t>
            </a:r>
            <a:r>
              <a:rPr lang="en-US" sz="2800" dirty="0">
                <a:solidFill>
                  <a:schemeClr val="tx1"/>
                </a:solidFill>
              </a:rPr>
              <a:t>– Region 1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5A437EA-C7F4-46CA-A00D-46C3689D4B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1770299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4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65126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ndiana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4E7FAF8-8742-4630-9007-01D8BAA351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5615059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9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632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ow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2E1D433-13B8-44A7-9395-8B0C57BF9F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07826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29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52093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ansas </a:t>
            </a:r>
            <a:r>
              <a:rPr lang="en-US" sz="2800" dirty="0">
                <a:solidFill>
                  <a:schemeClr val="tx1"/>
                </a:solidFill>
              </a:rPr>
              <a:t>– Region 2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501A6D7-7F24-494A-A6A8-69889D3AF5F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039584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88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29622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entucky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C3DE84D7-BCC3-4ADD-9756-D5954E3FA4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029440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9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00465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Louisiana </a:t>
            </a:r>
            <a:r>
              <a:rPr lang="en-US" sz="2800" dirty="0">
                <a:solidFill>
                  <a:schemeClr val="tx1"/>
                </a:solidFill>
              </a:rPr>
              <a:t>– Region 2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8DE6E4C5-5E59-4196-8EE8-556DC0E122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1755629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6328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ska </a:t>
            </a:r>
            <a:r>
              <a:rPr lang="en-US" sz="2800" dirty="0">
                <a:solidFill>
                  <a:schemeClr val="tx1"/>
                </a:solidFill>
              </a:rPr>
              <a:t>– Region 3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9A4EB82-814A-489D-ACD7-BC103B0531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5601852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4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240753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303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in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B3D6D669-FB44-458A-BDBE-C224A895CE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260751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4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6855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ryland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B317E28-0C73-4092-92E2-1FDC2B5BB1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5601387"/>
              </p:ext>
            </p:extLst>
          </p:nvPr>
        </p:nvGraphicFramePr>
        <p:xfrm>
          <a:off x="703908" y="92964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1721690670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78083806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754326068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2398348084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748827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7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894571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083938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709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858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220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826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538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1302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786526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47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53409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ssachusetts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B3282C23-D19C-43F8-933C-31CDE56585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4792005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32.90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2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3441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chigan </a:t>
            </a:r>
            <a:r>
              <a:rPr lang="en-US" sz="2800" dirty="0">
                <a:solidFill>
                  <a:schemeClr val="tx1"/>
                </a:solidFill>
              </a:rPr>
              <a:t>– Region 1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8B8F8C5E-211D-4CB0-966C-7684E0F43B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4237260"/>
              </p:ext>
            </p:extLst>
          </p:nvPr>
        </p:nvGraphicFramePr>
        <p:xfrm>
          <a:off x="703908" y="914400"/>
          <a:ext cx="9592618" cy="40272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3086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78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117289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82027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nnes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A09B7717-AACA-4B78-95BB-A20308D08E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66195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29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4029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issippi </a:t>
            </a:r>
            <a:r>
              <a:rPr lang="en-US" sz="2800" dirty="0">
                <a:solidFill>
                  <a:schemeClr val="tx1"/>
                </a:solidFill>
              </a:rPr>
              <a:t>– Region 2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D22CF7E-BBFF-406B-B733-71F835D2E4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8218139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8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43756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ouri</a:t>
            </a:r>
            <a:r>
              <a:rPr lang="en-US" sz="2800" dirty="0">
                <a:solidFill>
                  <a:schemeClr val="tx1"/>
                </a:solidFill>
              </a:rPr>
              <a:t>– Region 1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59BA957-A673-4DA7-9007-E17A3F5F6B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0187332"/>
              </p:ext>
            </p:extLst>
          </p:nvPr>
        </p:nvGraphicFramePr>
        <p:xfrm>
          <a:off x="703908" y="914400"/>
          <a:ext cx="9592618" cy="40272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3086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4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9508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ontan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E63BE924-46D9-4696-917B-201F4425A2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156727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29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49955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brask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042BFF90-18D8-4F21-AAD6-642BB0D9B7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5197912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29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19105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vada </a:t>
            </a:r>
            <a:r>
              <a:rPr lang="en-US" sz="2800" dirty="0">
                <a:solidFill>
                  <a:schemeClr val="tx1"/>
                </a:solidFill>
              </a:rPr>
              <a:t>– Region 2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779AAE3-3B1C-4759-AEF8-8729E9AD68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3438679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7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475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izona </a:t>
            </a:r>
            <a:r>
              <a:rPr lang="en-US" sz="2800" dirty="0">
                <a:solidFill>
                  <a:schemeClr val="tx1"/>
                </a:solidFill>
              </a:rPr>
              <a:t>– Region 2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9AA94E28-42CA-4265-AD6D-F76738CDD3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8453825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4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44666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Hampshir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8ED5A76E-F7FF-48C0-932C-509182FC558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8354055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4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1754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Jersey </a:t>
            </a:r>
            <a:r>
              <a:rPr lang="en-US" sz="2800" dirty="0">
                <a:solidFill>
                  <a:schemeClr val="tx1"/>
                </a:solidFill>
              </a:rPr>
              <a:t>– Region 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814A20F-255B-45F5-9015-F55C7165BB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8210610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7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74471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Mexico </a:t>
            </a:r>
            <a:r>
              <a:rPr lang="en-US" sz="2800" dirty="0">
                <a:solidFill>
                  <a:schemeClr val="tx1"/>
                </a:solidFill>
              </a:rPr>
              <a:t>– Region 2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9D46E5C2-5AE4-4CFA-941A-389A2C3EEA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5132839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104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54397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York </a:t>
            </a:r>
            <a:r>
              <a:rPr lang="en-US" sz="2800" dirty="0">
                <a:solidFill>
                  <a:schemeClr val="tx1"/>
                </a:solidFill>
              </a:rPr>
              <a:t>– Region 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3F8D117-F619-4F3E-BCFC-4EC5ACF6A5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8503649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116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83766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Carolina </a:t>
            </a:r>
            <a:r>
              <a:rPr lang="en-US" sz="2800" dirty="0">
                <a:solidFill>
                  <a:schemeClr val="tx1"/>
                </a:solidFill>
              </a:rPr>
              <a:t>– Region 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9EB8C76-835F-41DD-AC73-F1A84F7E92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064950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0.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25355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2D4EE212-CD71-438A-AF87-C2AB014203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1787403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29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30152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1708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hio </a:t>
            </a:r>
            <a:r>
              <a:rPr lang="en-US" sz="2800" dirty="0">
                <a:solidFill>
                  <a:schemeClr val="tx1"/>
                </a:solidFill>
              </a:rPr>
              <a:t>– Region 1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4355B82B-457F-47B5-9A47-971D631E3E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6380743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0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04486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klahoma </a:t>
            </a:r>
            <a:r>
              <a:rPr lang="en-US" sz="2800" dirty="0">
                <a:solidFill>
                  <a:schemeClr val="tx1"/>
                </a:solidFill>
              </a:rPr>
              <a:t>– Region 2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7DDAE416-0AFC-4955-A1B9-54AE5389A3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9441521"/>
              </p:ext>
            </p:extLst>
          </p:nvPr>
        </p:nvGraphicFramePr>
        <p:xfrm>
          <a:off x="703908" y="914400"/>
          <a:ext cx="9592618" cy="35730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7606221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rowSpan="10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+mn-lt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+mn-lt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+mn-lt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+mn-lt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+mn-lt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+mn-lt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 SilverScript Choice plan will </a:t>
                      </a:r>
                      <a:r>
                        <a:rPr lang="en-US" sz="1400" b="1" dirty="0">
                          <a:latin typeface="+mn-lt"/>
                        </a:rPr>
                        <a:t>not</a:t>
                      </a:r>
                      <a:r>
                        <a:rPr lang="en-US" sz="1400" dirty="0">
                          <a:latin typeface="+mn-lt"/>
                        </a:rPr>
                        <a:t> be offered in Oklahoma for the 2026 plan year. </a:t>
                      </a:r>
                    </a:p>
                    <a:p>
                      <a:pPr algn="ctr"/>
                      <a:endParaRPr lang="en-US" sz="1400" dirty="0">
                        <a:latin typeface="+mn-lt"/>
                      </a:endParaRPr>
                    </a:p>
                  </a:txBody>
                  <a:tcPr>
                    <a:solidFill>
                      <a:srgbClr val="E9E8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588620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reg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353EFF9-D428-4A81-8214-93E229819A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5898070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85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06937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Pennsylva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8748CD6-A3A8-4CF5-A635-2B93FCB89A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7283533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2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9612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kansas </a:t>
            </a:r>
            <a:r>
              <a:rPr lang="en-US" sz="2800" dirty="0">
                <a:solidFill>
                  <a:schemeClr val="tx1"/>
                </a:solidFill>
              </a:rPr>
              <a:t>– Region 1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A5DC7A4-8C67-4380-9DAA-CB6B866890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6857590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73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ot offe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ot offe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ot offe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ot offe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ot offe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231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Rhode Island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FBF857D0-04D9-4A45-BAF0-F7C20A0B42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969029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2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0328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Carolina </a:t>
            </a:r>
            <a:r>
              <a:rPr lang="en-US" sz="2800" dirty="0">
                <a:solidFill>
                  <a:schemeClr val="tx1"/>
                </a:solidFill>
              </a:rPr>
              <a:t>– Region 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52D8CD8-0E25-417A-A5FE-B296777D4E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875862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8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132723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01587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E4461D91-3221-4B8C-92D5-85189CC927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158836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$29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0999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nnessee </a:t>
            </a:r>
            <a:r>
              <a:rPr lang="en-US" sz="2800" dirty="0">
                <a:solidFill>
                  <a:schemeClr val="tx1"/>
                </a:solidFill>
              </a:rPr>
              <a:t>– Region 1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A8E66D96-D0F3-4E10-B8C5-6F28E9DFC3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287139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7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99187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xas </a:t>
            </a:r>
            <a:r>
              <a:rPr lang="en-US" sz="2800" dirty="0">
                <a:solidFill>
                  <a:schemeClr val="tx1"/>
                </a:solidFill>
              </a:rPr>
              <a:t>– Region 2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6E81C1E-149E-44BD-B67A-8C37D626FD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729440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4.8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7887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Utah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CE3C8A7-3479-44DD-AB28-3FB71B720D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401129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7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452166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ermon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3729D57-8B51-454A-8960-413AF75451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128719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2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79479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irginia </a:t>
            </a:r>
            <a:r>
              <a:rPr lang="en-US" sz="2800" dirty="0">
                <a:solidFill>
                  <a:schemeClr val="tx1"/>
                </a:solidFill>
              </a:rPr>
              <a:t>– Region 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4B3191C-8604-48A7-9D38-630DEDB842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562599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78.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7981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ashingt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4D23978A-1FE1-448F-A538-FE739E7178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0921224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85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370386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est Virgi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2C3F778-8363-4EAB-9968-9C6B5D634E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1413036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2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245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alifornia </a:t>
            </a:r>
            <a:r>
              <a:rPr lang="en-US" sz="2800" dirty="0">
                <a:solidFill>
                  <a:schemeClr val="tx1"/>
                </a:solidFill>
              </a:rPr>
              <a:t>– Region 3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09B0E36-A98E-4A60-A760-B955E6EB67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584825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103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60173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isconsin </a:t>
            </a:r>
            <a:r>
              <a:rPr lang="en-US" sz="2800" dirty="0">
                <a:solidFill>
                  <a:schemeClr val="tx1"/>
                </a:solidFill>
              </a:rPr>
              <a:t>– Region 1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2E39339-F7A8-452C-8925-0744617308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217604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6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5525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yoming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8A5DBD00-19FF-4346-B8EF-E52285BB52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3563791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3921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29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24056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073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lorado </a:t>
            </a:r>
            <a:r>
              <a:rPr lang="en-US" sz="2800" dirty="0">
                <a:solidFill>
                  <a:schemeClr val="tx1"/>
                </a:solidFill>
              </a:rPr>
              <a:t>– Region 2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433817F9-DBD4-4A54-877F-F810CA0E0B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5188167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105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1134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nnecticu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AFC7176-E725-4C8C-831C-B68868863D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160464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2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7898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elaware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66A92BF-2226-461A-B0A8-DD9E7B6BBB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5246078"/>
              </p:ext>
            </p:extLst>
          </p:nvPr>
        </p:nvGraphicFramePr>
        <p:xfrm>
          <a:off x="703908" y="914400"/>
          <a:ext cx="959261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7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2057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6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istrict of Columbia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C8277BB-1952-4D3B-84FB-771AE6B83D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543508"/>
              </p:ext>
            </p:extLst>
          </p:nvPr>
        </p:nvGraphicFramePr>
        <p:xfrm>
          <a:off x="703908" y="929640"/>
          <a:ext cx="9455349" cy="42346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7972">
                  <a:extLst>
                    <a:ext uri="{9D8B030D-6E8A-4147-A177-3AD203B41FA5}">
                      <a16:colId xmlns:a16="http://schemas.microsoft.com/office/drawing/2014/main" val="1721690670"/>
                    </a:ext>
                  </a:extLst>
                </a:gridCol>
                <a:gridCol w="2295503">
                  <a:extLst>
                    <a:ext uri="{9D8B030D-6E8A-4147-A177-3AD203B41FA5}">
                      <a16:colId xmlns:a16="http://schemas.microsoft.com/office/drawing/2014/main" val="1178083806"/>
                    </a:ext>
                  </a:extLst>
                </a:gridCol>
                <a:gridCol w="2487190">
                  <a:extLst>
                    <a:ext uri="{9D8B030D-6E8A-4147-A177-3AD203B41FA5}">
                      <a16:colId xmlns:a16="http://schemas.microsoft.com/office/drawing/2014/main" val="754326068"/>
                    </a:ext>
                  </a:extLst>
                </a:gridCol>
                <a:gridCol w="2714684">
                  <a:extLst>
                    <a:ext uri="{9D8B030D-6E8A-4147-A177-3AD203B41FA5}">
                      <a16:colId xmlns:a16="http://schemas.microsoft.com/office/drawing/2014/main" val="2398348084"/>
                    </a:ext>
                  </a:extLst>
                </a:gridCol>
              </a:tblGrid>
              <a:tr h="30359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748827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97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894571"/>
                  </a:ext>
                </a:extLst>
              </a:tr>
              <a:tr h="51611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1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083938"/>
                  </a:ext>
                </a:extLst>
              </a:tr>
              <a:tr h="51611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709409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858161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22099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826899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538000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130258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786526"/>
                  </a:ext>
                </a:extLst>
              </a:tr>
              <a:tr h="75899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2,1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47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6559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tna_PPT_EVERYDAY_Template">
  <a:themeElements>
    <a:clrScheme name="Custom 9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9</TotalTime>
  <Words>6510</Words>
  <Application>Microsoft Office PowerPoint</Application>
  <PresentationFormat>Widescreen</PresentationFormat>
  <Paragraphs>1969</Paragraphs>
  <Slides>5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6" baseType="lpstr">
      <vt:lpstr>Arial</vt:lpstr>
      <vt:lpstr>Lucida Grande</vt:lpstr>
      <vt:lpstr>Open Sans</vt:lpstr>
      <vt:lpstr>Aetna_PPT_EVERYDAY_Template</vt:lpstr>
      <vt:lpstr>think-cell Slide</vt:lpstr>
      <vt:lpstr>2026 SilverScript Choice PDP Design Alabama – Region 12</vt:lpstr>
      <vt:lpstr>2026 SilverScript Choice PDP Design Alaska – Region 34</vt:lpstr>
      <vt:lpstr>2026 SilverScript Choice PDP Design Arizona – Region 28</vt:lpstr>
      <vt:lpstr>2026 SilverScript Choice PDP Design Arkansas – Region 19</vt:lpstr>
      <vt:lpstr>2026 SilverScript Choice PDP Design California – Region 32</vt:lpstr>
      <vt:lpstr>2026 SilverScript Choice PDP Design Colorado – Region 27</vt:lpstr>
      <vt:lpstr>2026 SilverScript Choice PDP Design Connecticut – Region 2</vt:lpstr>
      <vt:lpstr>2026 SilverScript Choice PDP Design Delaware – Region 5</vt:lpstr>
      <vt:lpstr>2026 SilverScript Choice PDP Design District of Columbia – Region 5</vt:lpstr>
      <vt:lpstr>2026 SilverScript Choice PDP Design Florida – Region 11</vt:lpstr>
      <vt:lpstr>2026 SilverScript Choice PDP Design Georgia – Region 10</vt:lpstr>
      <vt:lpstr>2026 SilverScript Choice PDP Design Hawaii – Region 33</vt:lpstr>
      <vt:lpstr>2026 SilverScript Choice PDP Design Idaho – Region 31</vt:lpstr>
      <vt:lpstr>2026 SilverScript Choice PDP Design Illinois – Region 17</vt:lpstr>
      <vt:lpstr>2026 SilverScript Choice PDP Design Indiana – Region 15</vt:lpstr>
      <vt:lpstr>2026 SilverScript Choice PDP Design Iowa – Region 25</vt:lpstr>
      <vt:lpstr>2026 SilverScript Choice PDP Design Kansas – Region 24</vt:lpstr>
      <vt:lpstr>2026 SilverScript Choice PDP Design Kentucky – Region 15</vt:lpstr>
      <vt:lpstr>2026 SilverScript Choice PDP Design Louisiana – Region 21</vt:lpstr>
      <vt:lpstr>2026 SilverScript Choice PDP Design Maine – Region 1</vt:lpstr>
      <vt:lpstr>2026 SilverScript Choice PDP Design Maryland – Region 5</vt:lpstr>
      <vt:lpstr>2026 SilverScript Choice PDP Design Massachusetts – Region 2</vt:lpstr>
      <vt:lpstr>2026 SilverScript Choice PDP Design Michigan – Region 13</vt:lpstr>
      <vt:lpstr>2026 SilverScript Choice PDP Design Minnesota – Region 25</vt:lpstr>
      <vt:lpstr>2026 SilverScript Choice PDP Design Mississippi – Region 20</vt:lpstr>
      <vt:lpstr>2026 SilverScript Choice PDP Design Missouri– Region 18</vt:lpstr>
      <vt:lpstr>2026 SilverScript Choice PDP Design Montana – Region 25</vt:lpstr>
      <vt:lpstr>2026 SilverScript Choice PDP Design Nebraska – Region 25</vt:lpstr>
      <vt:lpstr>2026 SilverScript Choice PDP Design Nevada – Region 29</vt:lpstr>
      <vt:lpstr>2026 SilverScript Choice PDP Design New Hampshire – Region 1</vt:lpstr>
      <vt:lpstr>2026 SilverScript Choice PDP Design New Jersey – Region 4</vt:lpstr>
      <vt:lpstr>2026 SilverScript Choice PDP Design New Mexico – Region 26</vt:lpstr>
      <vt:lpstr>2026 SilverScript Choice PDP Design New York – Region 3</vt:lpstr>
      <vt:lpstr>2026 SilverScript Choice PDP Design North Carolina – Region 8</vt:lpstr>
      <vt:lpstr>2026 SilverScript Choice PDP Design North Dakota – Region 25</vt:lpstr>
      <vt:lpstr>2026 SilverScript Choice PDP Design Ohio – Region 14</vt:lpstr>
      <vt:lpstr>2026 SilverScript Choice PDP Design Oklahoma – Region 23</vt:lpstr>
      <vt:lpstr>2026 SilverScript Choice PDP Design Oregon – Region 30</vt:lpstr>
      <vt:lpstr>2026 SilverScript Choice PDP Design Pennsylvania – Region 6</vt:lpstr>
      <vt:lpstr>2026 SilverScript Choice PDP Design Rhode Island – Region 2</vt:lpstr>
      <vt:lpstr>2026 SilverScript Choice PDP Design South Carolina – Region 9</vt:lpstr>
      <vt:lpstr>2026 SilverScript Choice PDP Design South Dakota – Region 25</vt:lpstr>
      <vt:lpstr>2026 SilverScript Choice PDP Design Tennessee – Region 12</vt:lpstr>
      <vt:lpstr>2026 SilverScript Choice PDP Design Texas – Region 22</vt:lpstr>
      <vt:lpstr>2026 SilverScript Choice PDP Design Utah – Region 31</vt:lpstr>
      <vt:lpstr>2026 SilverScript Choice PDP Design Vermont – Region 2</vt:lpstr>
      <vt:lpstr>2026 SilverScript Choice PDP Design Virginia – Region 7</vt:lpstr>
      <vt:lpstr>2026 SilverScript Choice PDP Design Washington – Region 30</vt:lpstr>
      <vt:lpstr>2026 SilverScript Choice PDP Design West Virginia – Region 6</vt:lpstr>
      <vt:lpstr>2026 SilverScript Choice PDP Design Wisconsin – Region 16</vt:lpstr>
      <vt:lpstr>2026 SilverScript Choice PDP Design Wyoming – Region 25</vt:lpstr>
    </vt:vector>
  </TitlesOfParts>
  <Company>CVS Heal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SilverScript SmartRx PDP Design State - Region</dc:title>
  <dc:creator>Pietralczyk, Rene</dc:creator>
  <cp:lastModifiedBy>Kristoff, Angel T</cp:lastModifiedBy>
  <cp:revision>76</cp:revision>
  <dcterms:created xsi:type="dcterms:W3CDTF">2020-07-23T16:48:32Z</dcterms:created>
  <dcterms:modified xsi:type="dcterms:W3CDTF">2025-08-19T18:2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etDate">
    <vt:lpwstr>2021-09-15T12:18:59Z</vt:lpwstr>
  </property>
  <property fmtid="{D5CDD505-2E9C-101B-9397-08002B2CF9AE}" pid="4" name="MSIP_Label_67599526-06ca-49cc-9fa9-5307800a949a_Method">
    <vt:lpwstr>Standard</vt:lpwstr>
  </property>
  <property fmtid="{D5CDD505-2E9C-101B-9397-08002B2CF9AE}" pid="5" name="MSIP_Label_67599526-06ca-49cc-9fa9-5307800a949a_Name">
    <vt:lpwstr>67599526-06ca-49cc-9fa9-5307800a949a</vt:lpwstr>
  </property>
  <property fmtid="{D5CDD505-2E9C-101B-9397-08002B2CF9AE}" pid="6" name="MSIP_Label_67599526-06ca-49cc-9fa9-5307800a949a_SiteId">
    <vt:lpwstr>fabb61b8-3afe-4e75-b934-a47f782b8cd7</vt:lpwstr>
  </property>
  <property fmtid="{D5CDD505-2E9C-101B-9397-08002B2CF9AE}" pid="7" name="MSIP_Label_67599526-06ca-49cc-9fa9-5307800a949a_ActionId">
    <vt:lpwstr>5707c850-6898-477f-84aa-d7eff5156b62</vt:lpwstr>
  </property>
  <property fmtid="{D5CDD505-2E9C-101B-9397-08002B2CF9AE}" pid="8" name="MSIP_Label_67599526-06ca-49cc-9fa9-5307800a949a_ContentBits">
    <vt:lpwstr>0</vt:lpwstr>
  </property>
</Properties>
</file>